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1"/>
  </p:notesMasterIdLst>
  <p:sldIdLst>
    <p:sldId id="1442" r:id="rId2"/>
    <p:sldId id="1513" r:id="rId3"/>
    <p:sldId id="1545" r:id="rId4"/>
    <p:sldId id="1547" r:id="rId5"/>
    <p:sldId id="1546" r:id="rId6"/>
    <p:sldId id="1548" r:id="rId7"/>
    <p:sldId id="1549" r:id="rId8"/>
    <p:sldId id="1541" r:id="rId9"/>
    <p:sldId id="1489" r:id="rId10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xmlns="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5B7F95"/>
    <a:srgbClr val="001484"/>
    <a:srgbClr val="003398"/>
    <a:srgbClr val="71A1A7"/>
    <a:srgbClr val="D5E3E5"/>
    <a:srgbClr val="DFF0CB"/>
    <a:srgbClr val="A6A6A6"/>
    <a:srgbClr val="CBDFEF"/>
    <a:srgbClr val="FFFF00"/>
    <a:srgbClr val="EBF2F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38" autoAdjust="0"/>
    <p:restoredTop sz="95501" autoAdjust="0"/>
  </p:normalViewPr>
  <p:slideViewPr>
    <p:cSldViewPr snapToGrid="0">
      <p:cViewPr varScale="1">
        <p:scale>
          <a:sx n="71" d="100"/>
          <a:sy n="71" d="100"/>
        </p:scale>
        <p:origin x="-138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pPr/>
              <a:t>2/24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1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25"/>
              </a:spcBef>
              <a:defRPr sz="195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7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7"/>
            <a:ext cx="1584176" cy="365125"/>
          </a:xfrm>
        </p:spPr>
        <p:txBody>
          <a:bodyPr>
            <a:normAutofit/>
          </a:bodyPr>
          <a:lstStyle>
            <a:lvl1pPr algn="r">
              <a:defRPr sz="82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7"/>
            <a:ext cx="1944216" cy="365125"/>
          </a:xfrm>
        </p:spPr>
        <p:txBody>
          <a:bodyPr>
            <a:normAutofit/>
          </a:bodyPr>
          <a:lstStyle>
            <a:lvl1pPr algn="r">
              <a:defRPr sz="825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5359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49427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31468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6992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4026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9" y="2276874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4D20FEE-39B3-4095-9643-A54B8CE6F8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94300" y="6224401"/>
            <a:ext cx="1158728" cy="35058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524DAC6-DF6A-4E9E-AF01-59285C842E16}"/>
              </a:ext>
            </a:extLst>
          </p:cNvPr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660200" y="6224401"/>
            <a:ext cx="1025408" cy="360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C5F1506-0FF1-476A-9766-95A867527BE0}"/>
              </a:ext>
            </a:extLst>
          </p:cNvPr>
          <p:cNvPicPr>
            <a:picLocks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2892780" y="6163201"/>
            <a:ext cx="775411" cy="396000"/>
          </a:xfrm>
          <a:prstGeom prst="rect">
            <a:avLst/>
          </a:prstGeom>
          <a:effectLst>
            <a:outerShdw blurRad="635000" dist="3810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4242906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8"/>
            <a:ext cx="5472608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7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1" y="1412777"/>
            <a:ext cx="6004917" cy="4680048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3532181"/>
            <a:ext cx="8597205" cy="2551450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3703287"/>
            <a:ext cx="8597205" cy="238034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1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1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3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3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3" y="4540291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9"/>
            <a:ext cx="5553983" cy="466590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8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8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8" y="3497483"/>
            <a:ext cx="402674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2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7" y="3497483"/>
            <a:ext cx="402674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8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7" y="4043102"/>
            <a:ext cx="3734059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www.wcedonline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6" y="565703"/>
            <a:ext cx="18485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7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825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272289" y="1859447"/>
            <a:ext cx="2215449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34996" y="3331666"/>
            <a:ext cx="4102608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9" y="3861050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800"/>
              </a:spcAft>
            </a:pPr>
            <a:r>
              <a:rPr lang="en-US" sz="24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5276" y="3364896"/>
            <a:ext cx="8848724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4491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80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42471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660245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412778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6769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34708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18598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6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0657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6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80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75560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5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4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202" name="think-cell Slide" r:id="rId29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295276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295276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5276" y="931933"/>
            <a:ext cx="8848724" cy="641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509F4E41-E6AA-460A-9EC8-77FD8D9A773C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/>
          <a:stretch>
            <a:fillRect/>
          </a:stretch>
        </p:blipFill>
        <p:spPr>
          <a:xfrm>
            <a:off x="295275" y="6223566"/>
            <a:ext cx="1158728" cy="3505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730A2B8C-829C-48A4-AE9A-484F3A5EC729}"/>
              </a:ext>
            </a:extLst>
          </p:cNvPr>
          <p:cNvPicPr>
            <a:picLocks/>
          </p:cNvPicPr>
          <p:nvPr userDrawn="1"/>
        </p:nvPicPr>
        <p:blipFill>
          <a:blip r:embed="rId32" cstate="print"/>
          <a:stretch>
            <a:fillRect/>
          </a:stretch>
        </p:blipFill>
        <p:spPr>
          <a:xfrm>
            <a:off x="1633450" y="6223566"/>
            <a:ext cx="1025408" cy="36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688A40CB-9313-45BF-8601-903C9AED84F5}"/>
              </a:ext>
            </a:extLst>
          </p:cNvPr>
          <p:cNvPicPr>
            <a:picLocks/>
          </p:cNvPicPr>
          <p:nvPr userDrawn="1"/>
        </p:nvPicPr>
        <p:blipFill>
          <a:blip r:embed="rId33" cstate="print"/>
          <a:stretch>
            <a:fillRect/>
          </a:stretch>
        </p:blipFill>
        <p:spPr>
          <a:xfrm>
            <a:off x="2830394" y="6178147"/>
            <a:ext cx="813816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hf sldNum="0" hdr="0"/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25"/>
        </a:spcBef>
        <a:buFont typeface="Arial" pitchFamily="34" charset="0"/>
        <a:buNone/>
        <a:defRPr sz="12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02060"/>
        </a:buClr>
        <a:buFontTx/>
        <a:buBlip>
          <a:blip r:embed="rId34"/>
        </a:buBlip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•"/>
        <a:defRPr lang="en-US" sz="12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–"/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350000" indent="-1350000" algn="l" defTabSz="685800" rtl="0" eaLnBrk="1" latinLnBrk="0" hangingPunct="1">
        <a:spcBef>
          <a:spcPts val="225"/>
        </a:spcBef>
        <a:buFont typeface="Arial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3501468"/>
            <a:ext cx="8208912" cy="1405256"/>
          </a:xfrm>
        </p:spPr>
        <p:txBody>
          <a:bodyPr>
            <a:normAutofit/>
          </a:bodyPr>
          <a:lstStyle/>
          <a:p>
            <a:pPr algn="ctr"/>
            <a:r>
              <a:rPr lang="en-US" sz="2700" b="1" dirty="0"/>
              <a:t>WCED BRIEF TO  STANDING COMMITTEE ON EDUCATION </a:t>
            </a:r>
          </a:p>
          <a:p>
            <a:pPr algn="ctr"/>
            <a:r>
              <a:rPr lang="en-US" sz="2700" b="1" dirty="0"/>
              <a:t>INFRASTRUCTURE</a:t>
            </a:r>
            <a:endParaRPr lang="en-ZA" sz="2400" dirty="0"/>
          </a:p>
        </p:txBody>
      </p:sp>
      <p:sp>
        <p:nvSpPr>
          <p:cNvPr id="12" name="TextBox 11"/>
          <p:cNvSpPr txBox="1"/>
          <p:nvPr/>
        </p:nvSpPr>
        <p:spPr>
          <a:xfrm>
            <a:off x="5805394" y="5198728"/>
            <a:ext cx="287106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sz="1350" dirty="0">
                <a:solidFill>
                  <a:schemeClr val="bg1"/>
                </a:solidFill>
              </a:rPr>
              <a:t>22 February 2022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E5602CD-A313-43E5-8AB4-3FEDB048D88F}"/>
              </a:ext>
            </a:extLst>
          </p:cNvPr>
          <p:cNvSpPr txBox="1"/>
          <p:nvPr/>
        </p:nvSpPr>
        <p:spPr>
          <a:xfrm>
            <a:off x="5805394" y="2863743"/>
            <a:ext cx="287106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sz="1350" dirty="0">
                <a:solidFill>
                  <a:schemeClr val="bg1"/>
                </a:solidFill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xmlns="" val="19096612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xmlns="" id="{37EFBE31-799C-4B39-8A44-D3F90466A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All schools that are scheduled for replacement for the 2021/22 </a:t>
            </a:r>
            <a:br>
              <a:rPr lang="en-US" sz="2000" dirty="0"/>
            </a:br>
            <a:r>
              <a:rPr lang="en-US" sz="2000" dirty="0"/>
              <a:t>financial year including </a:t>
            </a:r>
            <a:r>
              <a:rPr lang="en-US" sz="2000" dirty="0" err="1"/>
              <a:t>Swartland</a:t>
            </a:r>
            <a:r>
              <a:rPr lang="en-US" sz="2000" dirty="0"/>
              <a:t> Municipality.</a:t>
            </a:r>
            <a:endParaRPr lang="en-ZA" sz="2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66C07E41-9246-4852-B252-426225DEA07D}"/>
              </a:ext>
            </a:extLst>
          </p:cNvPr>
          <p:cNvSpPr txBox="1"/>
          <p:nvPr/>
        </p:nvSpPr>
        <p:spPr>
          <a:xfrm>
            <a:off x="678093" y="1099172"/>
            <a:ext cx="8044667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he following list of schools are all planned to be replaced/upgraded and either reached PC, are in construction or construction is emin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xmlns="" id="{C43D4DEE-20B2-4D4F-8B90-1862C2F145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790210968"/>
              </p:ext>
            </p:extLst>
          </p:nvPr>
        </p:nvGraphicFramePr>
        <p:xfrm>
          <a:off x="893852" y="2273299"/>
          <a:ext cx="7407668" cy="40130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6277">
                  <a:extLst>
                    <a:ext uri="{9D8B030D-6E8A-4147-A177-3AD203B41FA5}">
                      <a16:colId xmlns:a16="http://schemas.microsoft.com/office/drawing/2014/main" xmlns="" val="1903210721"/>
                    </a:ext>
                  </a:extLst>
                </a:gridCol>
                <a:gridCol w="2267653">
                  <a:extLst>
                    <a:ext uri="{9D8B030D-6E8A-4147-A177-3AD203B41FA5}">
                      <a16:colId xmlns:a16="http://schemas.microsoft.com/office/drawing/2014/main" xmlns="" val="2770209184"/>
                    </a:ext>
                  </a:extLst>
                </a:gridCol>
                <a:gridCol w="1598517">
                  <a:extLst>
                    <a:ext uri="{9D8B030D-6E8A-4147-A177-3AD203B41FA5}">
                      <a16:colId xmlns:a16="http://schemas.microsoft.com/office/drawing/2014/main" xmlns="" val="1412740624"/>
                    </a:ext>
                  </a:extLst>
                </a:gridCol>
                <a:gridCol w="1483812">
                  <a:extLst>
                    <a:ext uri="{9D8B030D-6E8A-4147-A177-3AD203B41FA5}">
                      <a16:colId xmlns:a16="http://schemas.microsoft.com/office/drawing/2014/main" xmlns="" val="1103062486"/>
                    </a:ext>
                  </a:extLst>
                </a:gridCol>
                <a:gridCol w="1251409">
                  <a:extLst>
                    <a:ext uri="{9D8B030D-6E8A-4147-A177-3AD203B41FA5}">
                      <a16:colId xmlns:a16="http://schemas.microsoft.com/office/drawing/2014/main" xmlns="" val="1387292953"/>
                    </a:ext>
                  </a:extLst>
                </a:gridCol>
              </a:tblGrid>
              <a:tr h="3077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effectLst/>
                        </a:rPr>
                        <a:t>No.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effectLst/>
                        </a:rPr>
                        <a:t>Name School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effectLst/>
                        </a:rPr>
                        <a:t>District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Municipal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111935335"/>
                  </a:ext>
                </a:extLst>
              </a:tr>
              <a:tr h="3162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Kwafaku P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tro South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ity of Cape Tow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C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3789282312"/>
                  </a:ext>
                </a:extLst>
              </a:tr>
              <a:tr h="3162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Turfhall P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tro Centr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ity of Cape Tow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C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911928903"/>
                  </a:ext>
                </a:extLst>
              </a:tr>
              <a:tr h="3162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P.C. Peterson P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ape Wineland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Stellenbosch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C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802738307"/>
                  </a:ext>
                </a:extLst>
              </a:tr>
              <a:tr h="3162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armony P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tro South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ity of Cape Tow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C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710759234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Willows P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tro Centr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ity of Cape Tow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C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3830757084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Perivale P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tro South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City of Cape Tow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504747621"/>
                  </a:ext>
                </a:extLst>
              </a:tr>
              <a:tr h="1581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Panorama PS N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West Coas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Saldanh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917460574"/>
                  </a:ext>
                </a:extLst>
              </a:tr>
              <a:tr h="1581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Sunray P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tro North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City of Cape Tow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4001213390"/>
                  </a:ext>
                </a:extLst>
              </a:tr>
              <a:tr h="6154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 err="1">
                          <a:effectLst/>
                        </a:rPr>
                        <a:t>Umyezo</a:t>
                      </a:r>
                      <a:r>
                        <a:rPr lang="en-US" sz="1400" u="none" strike="noStrike" dirty="0">
                          <a:effectLst/>
                        </a:rPr>
                        <a:t> </a:t>
                      </a:r>
                      <a:r>
                        <a:rPr lang="en-US" sz="1400" u="none" strike="noStrike" dirty="0" err="1">
                          <a:effectLst/>
                        </a:rPr>
                        <a:t>Wama</a:t>
                      </a:r>
                      <a:r>
                        <a:rPr lang="en-US" sz="1400" u="none" strike="noStrike" dirty="0">
                          <a:effectLst/>
                        </a:rPr>
                        <a:t> </a:t>
                      </a:r>
                      <a:r>
                        <a:rPr lang="en-US" sz="1400" u="none" strike="noStrike" dirty="0" err="1">
                          <a:effectLst/>
                        </a:rPr>
                        <a:t>Apile</a:t>
                      </a:r>
                      <a:r>
                        <a:rPr lang="en-US" sz="1400" u="none" strike="noStrike" dirty="0">
                          <a:effectLst/>
                        </a:rPr>
                        <a:t> P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Overber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Theewaterskloof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785091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852425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xmlns="" id="{37EFBE31-799C-4B39-8A44-D3F90466A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All schools that are scheduled for replacement for the 2021/22 </a:t>
            </a:r>
            <a:br>
              <a:rPr lang="en-US" sz="2000" dirty="0"/>
            </a:br>
            <a:r>
              <a:rPr lang="en-US" sz="2000" dirty="0"/>
              <a:t>financial year including </a:t>
            </a:r>
            <a:r>
              <a:rPr lang="en-US" sz="2000" dirty="0" err="1"/>
              <a:t>Swartland</a:t>
            </a:r>
            <a:r>
              <a:rPr lang="en-US" sz="2000" dirty="0"/>
              <a:t> Municipality.</a:t>
            </a:r>
            <a:endParaRPr lang="en-ZA" sz="2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66C07E41-9246-4852-B252-426225DEA07D}"/>
              </a:ext>
            </a:extLst>
          </p:cNvPr>
          <p:cNvSpPr txBox="1"/>
          <p:nvPr/>
        </p:nvSpPr>
        <p:spPr>
          <a:xfrm>
            <a:off x="419903" y="1050458"/>
            <a:ext cx="8304194" cy="29546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he following list of schools are all planned to be replaced/upgraded and either reached PC, are in construction or construction is emin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DD897B1F-49A2-4B89-ADB0-963C799A9E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35885158"/>
              </p:ext>
            </p:extLst>
          </p:nvPr>
        </p:nvGraphicFramePr>
        <p:xfrm>
          <a:off x="544528" y="2305049"/>
          <a:ext cx="7417944" cy="27160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7395">
                  <a:extLst>
                    <a:ext uri="{9D8B030D-6E8A-4147-A177-3AD203B41FA5}">
                      <a16:colId xmlns:a16="http://schemas.microsoft.com/office/drawing/2014/main" xmlns="" val="3603797410"/>
                    </a:ext>
                  </a:extLst>
                </a:gridCol>
                <a:gridCol w="2270799">
                  <a:extLst>
                    <a:ext uri="{9D8B030D-6E8A-4147-A177-3AD203B41FA5}">
                      <a16:colId xmlns:a16="http://schemas.microsoft.com/office/drawing/2014/main" xmlns="" val="3912267656"/>
                    </a:ext>
                  </a:extLst>
                </a:gridCol>
                <a:gridCol w="1833460">
                  <a:extLst>
                    <a:ext uri="{9D8B030D-6E8A-4147-A177-3AD203B41FA5}">
                      <a16:colId xmlns:a16="http://schemas.microsoft.com/office/drawing/2014/main" xmlns="" val="271178512"/>
                    </a:ext>
                  </a:extLst>
                </a:gridCol>
                <a:gridCol w="1253145">
                  <a:extLst>
                    <a:ext uri="{9D8B030D-6E8A-4147-A177-3AD203B41FA5}">
                      <a16:colId xmlns:a16="http://schemas.microsoft.com/office/drawing/2014/main" xmlns="" val="3816936424"/>
                    </a:ext>
                  </a:extLst>
                </a:gridCol>
                <a:gridCol w="1253145">
                  <a:extLst>
                    <a:ext uri="{9D8B030D-6E8A-4147-A177-3AD203B41FA5}">
                      <a16:colId xmlns:a16="http://schemas.microsoft.com/office/drawing/2014/main" xmlns="" val="3507527544"/>
                    </a:ext>
                  </a:extLst>
                </a:gridCol>
              </a:tblGrid>
              <a:tr h="36539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effectLst/>
                        </a:rPr>
                        <a:t>No.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effectLst/>
                        </a:rPr>
                        <a:t>Name School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effectLst/>
                        </a:rPr>
                        <a:t>District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Municipal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135983107"/>
                  </a:ext>
                </a:extLst>
              </a:tr>
              <a:tr h="3218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1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Chatsworth P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West Coast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 err="1">
                          <a:effectLst/>
                        </a:rPr>
                        <a:t>Swartlan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67255845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e Waalville P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Eden &amp; Central Karo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essequ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39446354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al Josaphat PS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ape Wineland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Drakenstei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986979715"/>
                  </a:ext>
                </a:extLst>
              </a:tr>
              <a:tr h="3131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Cathkin S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Metro Centra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City of Cape Tow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ig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166259466"/>
                  </a:ext>
                </a:extLst>
              </a:tr>
              <a:tr h="3218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vula P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tro South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ity of Cape Tow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ig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313083436"/>
                  </a:ext>
                </a:extLst>
              </a:tr>
              <a:tr h="3218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Nieuwoudt P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West Cos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atzikam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ig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4110554614"/>
                  </a:ext>
                </a:extLst>
              </a:tr>
              <a:tr h="0">
                <a:tc gridSpan="5"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endParaRPr lang="en-US" sz="14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8710158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2524932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xmlns="" id="{37EFBE31-799C-4B39-8A44-D3F90466A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Budget allocated to the Department of Transport and Public Works for the</a:t>
            </a:r>
            <a:b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</a:br>
            <a: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 replacement and maintenance of schools in the 2021/22 financial year </a:t>
            </a:r>
            <a:b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</a:br>
            <a: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including </a:t>
            </a:r>
            <a:r>
              <a:rPr lang="en-US" sz="1800" dirty="0" err="1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Swartland</a:t>
            </a:r>
            <a: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 Municipality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66C07E41-9246-4852-B252-426225DEA07D}"/>
              </a:ext>
            </a:extLst>
          </p:cNvPr>
          <p:cNvSpPr txBox="1"/>
          <p:nvPr/>
        </p:nvSpPr>
        <p:spPr>
          <a:xfrm>
            <a:off x="550416" y="1375954"/>
            <a:ext cx="8049054" cy="64633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According to the adjustment budget, a total of R553.027million was allocated to DTPW for replacement and maintenance in 2021/22. 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The replacement school sub-</a:t>
            </a:r>
            <a:r>
              <a:rPr lang="en-US" b="1" dirty="0" err="1"/>
              <a:t>programme</a:t>
            </a:r>
            <a:r>
              <a:rPr lang="en-US" b="1" dirty="0"/>
              <a:t> budget is R161.573million. 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28 replacement school projects are listed over the MTEF as replacement schools allocated to DTPW in the IPMP. Only Chatsworth PS is in </a:t>
            </a:r>
            <a:r>
              <a:rPr lang="en-US" b="1" dirty="0" err="1"/>
              <a:t>Swartland</a:t>
            </a:r>
            <a:r>
              <a:rPr lang="en-US" b="1" dirty="0"/>
              <a:t> Municipality. 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The preventative maintenance sub-</a:t>
            </a:r>
            <a:r>
              <a:rPr lang="en-US" b="1" dirty="0" err="1"/>
              <a:t>programme</a:t>
            </a:r>
            <a:r>
              <a:rPr lang="en-US" b="1" dirty="0"/>
              <a:t> budget is R391.454million. 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151 preventative maintenance projects were allocated to DTPW in the IPMP of which 6 schools are located in </a:t>
            </a:r>
            <a:r>
              <a:rPr lang="en-US" b="1" dirty="0" err="1"/>
              <a:t>Swartland</a:t>
            </a:r>
            <a:r>
              <a:rPr lang="en-US" b="1" dirty="0"/>
              <a:t> Municipality, namely: Darling LS, </a:t>
            </a:r>
            <a:r>
              <a:rPr lang="en-US" b="1" dirty="0" err="1"/>
              <a:t>Riverlands</a:t>
            </a:r>
            <a:r>
              <a:rPr lang="en-US" b="1" dirty="0"/>
              <a:t> PS, </a:t>
            </a:r>
            <a:r>
              <a:rPr lang="en-US" b="1" dirty="0" err="1"/>
              <a:t>Ruststasie</a:t>
            </a:r>
            <a:r>
              <a:rPr lang="en-US" b="1" dirty="0"/>
              <a:t> PS, St. Michael’s PS, </a:t>
            </a:r>
            <a:r>
              <a:rPr lang="en-US" b="1" dirty="0" err="1"/>
              <a:t>Wesbank</a:t>
            </a:r>
            <a:r>
              <a:rPr lang="en-US" b="1" dirty="0"/>
              <a:t> SS and </a:t>
            </a:r>
            <a:r>
              <a:rPr lang="en-US" b="1" dirty="0" err="1"/>
              <a:t>Swartland</a:t>
            </a:r>
            <a:r>
              <a:rPr lang="en-US" b="1" dirty="0"/>
              <a:t> HS. 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68247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xmlns="" id="{37EFBE31-799C-4B39-8A44-D3F90466A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ll schools that have been postponed for maintenance and or </a:t>
            </a:r>
            <a:br>
              <a:rPr lang="en-US" dirty="0"/>
            </a:br>
            <a:r>
              <a:rPr lang="en-US" dirty="0"/>
              <a:t>replacement due to COVID-19 epidemic.</a:t>
            </a:r>
            <a:endParaRPr lang="en-ZA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66C07E41-9246-4852-B252-426225DEA07D}"/>
              </a:ext>
            </a:extLst>
          </p:cNvPr>
          <p:cNvSpPr txBox="1"/>
          <p:nvPr/>
        </p:nvSpPr>
        <p:spPr>
          <a:xfrm>
            <a:off x="295276" y="1130356"/>
            <a:ext cx="8304194" cy="8525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Only in the previous 2020/21 financial year reprioritization of the infrastructure budget took place and the budget was cut to accommodate the reallocation of infrastructure funding towards COVID-19 PPE.  The total budget cut in 2020/21 was 27% (R484.9million) of the original budget allocation of R1.74bill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This cut had the effect of 19 new and replacement schools were delayed and 94 preventative maintenance projects from 2020/21 having to be delayed to 2021/22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At adjustment budget stage a R192million was added back to the budget for specific maintenance projects as agreed between PT and DTPW. </a:t>
            </a:r>
          </a:p>
          <a:p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No maintenance or replacement schools were specifically postponed in 2021/22 due to Covid 19 pandemic. Some preventative maintenance projects listed in the 2021/22 IPMP are delayed due to the framework contractor cancelation and re-advertisement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The knock-on effect of budget cuts in previous financial years continues in 2021/22 with delayed projects from previous years only being completed in 2021/22 and projects originally planned for 2021/22 moving along to outer years. </a:t>
            </a:r>
          </a:p>
          <a:p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endParaRPr lang="en-US" b="1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620900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xmlns="" id="{37EFBE31-799C-4B39-8A44-D3F90466A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Any additional information pertaining to infrastructure of schools outlined </a:t>
            </a:r>
            <a:b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</a:br>
            <a: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for the 2020/21 to 2021/22 financial years including </a:t>
            </a:r>
            <a:r>
              <a:rPr lang="en-US" sz="1800" dirty="0" err="1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Swartland</a:t>
            </a:r>
            <a: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 Municipality.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/>
            </a: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en-US" sz="1800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 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66C07E41-9246-4852-B252-426225DEA07D}"/>
              </a:ext>
            </a:extLst>
          </p:cNvPr>
          <p:cNvSpPr txBox="1"/>
          <p:nvPr/>
        </p:nvSpPr>
        <p:spPr>
          <a:xfrm>
            <a:off x="295277" y="1307910"/>
            <a:ext cx="8304194" cy="45704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700" b="1" dirty="0"/>
              <a:t>The following list of  new schools/upgrades and additions are in different stages of progress of implementation.</a:t>
            </a:r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b="1" dirty="0"/>
          </a:p>
          <a:p>
            <a:endParaRPr lang="en-US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xmlns="" id="{A72FC242-DA41-4C07-B927-5958ECA951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54922"/>
              </p:ext>
            </p:extLst>
          </p:nvPr>
        </p:nvGraphicFramePr>
        <p:xfrm>
          <a:off x="544529" y="2095928"/>
          <a:ext cx="7849459" cy="31017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3160">
                  <a:extLst>
                    <a:ext uri="{9D8B030D-6E8A-4147-A177-3AD203B41FA5}">
                      <a16:colId xmlns:a16="http://schemas.microsoft.com/office/drawing/2014/main" xmlns="" val="3532954601"/>
                    </a:ext>
                  </a:extLst>
                </a:gridCol>
                <a:gridCol w="2077375">
                  <a:extLst>
                    <a:ext uri="{9D8B030D-6E8A-4147-A177-3AD203B41FA5}">
                      <a16:colId xmlns:a16="http://schemas.microsoft.com/office/drawing/2014/main" xmlns="" val="4129415890"/>
                    </a:ext>
                  </a:extLst>
                </a:gridCol>
                <a:gridCol w="1908699">
                  <a:extLst>
                    <a:ext uri="{9D8B030D-6E8A-4147-A177-3AD203B41FA5}">
                      <a16:colId xmlns:a16="http://schemas.microsoft.com/office/drawing/2014/main" xmlns="" val="587244408"/>
                    </a:ext>
                  </a:extLst>
                </a:gridCol>
                <a:gridCol w="1700225">
                  <a:extLst>
                    <a:ext uri="{9D8B030D-6E8A-4147-A177-3AD203B41FA5}">
                      <a16:colId xmlns:a16="http://schemas.microsoft.com/office/drawing/2014/main" xmlns="" val="719604640"/>
                    </a:ext>
                  </a:extLst>
                </a:gridCol>
              </a:tblGrid>
              <a:tr h="27323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effectLst/>
                        </a:rPr>
                        <a:t>Project Nam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effectLst/>
                        </a:rPr>
                        <a:t>Education District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Municipal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3862087273"/>
                  </a:ext>
                </a:extLst>
              </a:tr>
              <a:tr h="1366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Stofland P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ape Wineland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 err="1">
                          <a:effectLst/>
                        </a:rPr>
                        <a:t>Breede</a:t>
                      </a:r>
                      <a:r>
                        <a:rPr lang="en-US" sz="1400" u="none" strike="noStrike" dirty="0">
                          <a:effectLst/>
                        </a:rPr>
                        <a:t> Valle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C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3895157253"/>
                  </a:ext>
                </a:extLst>
              </a:tr>
              <a:tr h="1366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Tulbagh H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ape Wineland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Witzenber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C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3880107981"/>
                  </a:ext>
                </a:extLst>
              </a:tr>
              <a:tr h="27323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Moorreesburg H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West Coast 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 err="1">
                          <a:effectLst/>
                        </a:rPr>
                        <a:t>Swartlan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791842809"/>
                  </a:ext>
                </a:extLst>
              </a:tr>
              <a:tr h="3618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Saldanha PS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West Coas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Saldanh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4053794586"/>
                  </a:ext>
                </a:extLst>
              </a:tr>
              <a:tr h="1366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Sir Lowrys Pass S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tro Eas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ity of Cape Tow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50387020"/>
                  </a:ext>
                </a:extLst>
              </a:tr>
              <a:tr h="136618">
                <a:tc>
                  <a:txBody>
                    <a:bodyPr/>
                    <a:lstStyle/>
                    <a:p>
                      <a:pPr algn="l" fontAlgn="ctr"/>
                      <a:r>
                        <a:rPr lang="nn-NO" sz="1400" u="none" strike="noStrike" dirty="0">
                          <a:effectLst/>
                        </a:rPr>
                        <a:t>Macassar PS Nr.2 </a:t>
                      </a:r>
                      <a:endParaRPr lang="nn-NO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tro Eas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ity of Cape Tow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179058787"/>
                  </a:ext>
                </a:extLst>
              </a:tr>
              <a:tr h="27323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fuleni H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Metro North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ity of Cape Tow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nder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956395159"/>
                  </a:ext>
                </a:extLst>
              </a:tr>
              <a:tr h="12060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Happy Valley PS No.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tro Eas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ity of Cape Tow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nder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558655753"/>
                  </a:ext>
                </a:extLst>
              </a:tr>
              <a:tr h="1066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 </a:t>
                      </a:r>
                      <a:r>
                        <a:rPr lang="en-US" sz="1400" u="none" strike="noStrike" dirty="0" err="1">
                          <a:effectLst/>
                        </a:rPr>
                        <a:t>Manenberg</a:t>
                      </a:r>
                      <a:r>
                        <a:rPr lang="en-US" sz="1400" u="none" strike="noStrike" dirty="0">
                          <a:effectLst/>
                        </a:rPr>
                        <a:t> SOS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tro Centr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City of Cape Tow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nder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0767813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Napakade PS (phase 2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effectLst/>
                        </a:rPr>
                        <a:t>West Coast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 err="1">
                          <a:effectLst/>
                        </a:rPr>
                        <a:t>Swartlan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nder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037342398"/>
                  </a:ext>
                </a:extLst>
              </a:tr>
              <a:tr h="12060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Graafwater P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West Coas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Cederberg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nder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606418181"/>
                  </a:ext>
                </a:extLst>
              </a:tr>
              <a:tr h="18090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Concordia P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Eden &amp; Central Karo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Knysn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ig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40732246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0328730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xmlns="" id="{37EFBE31-799C-4B39-8A44-D3F90466A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Any additional information pertaining to infrastructure of schools outlined </a:t>
            </a:r>
            <a:b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</a:br>
            <a: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for the 2020/21 to 2021/22 financial years including </a:t>
            </a:r>
            <a:r>
              <a:rPr lang="en-US" sz="1800" dirty="0" err="1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Swartland</a:t>
            </a:r>
            <a: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</a:rPr>
              <a:t> Municipality.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/>
            </a: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en-US" sz="1800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 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66C07E41-9246-4852-B252-426225DEA07D}"/>
              </a:ext>
            </a:extLst>
          </p:cNvPr>
          <p:cNvSpPr txBox="1"/>
          <p:nvPr/>
        </p:nvSpPr>
        <p:spPr>
          <a:xfrm>
            <a:off x="295277" y="1307910"/>
            <a:ext cx="8304194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700" b="1" dirty="0"/>
              <a:t>The following list of expansion classrooms was also included in the IPMP 2021/22 and are at different stages of progress of implementation.</a:t>
            </a:r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endParaRPr lang="en-US" sz="1700" b="1" dirty="0"/>
          </a:p>
          <a:p>
            <a:r>
              <a:rPr lang="en-US" sz="1700" b="1" dirty="0"/>
              <a:t>Mobi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b="1" dirty="0"/>
              <a:t>129 mobiles were delivered in 2021/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b="1" dirty="0"/>
              <a:t>173 mobiles are in progress of being delivered of which 105 is at existing schools and 7 are new schools. </a:t>
            </a:r>
          </a:p>
          <a:p>
            <a:endParaRPr lang="en-US" b="1" dirty="0"/>
          </a:p>
          <a:p>
            <a:endParaRPr lang="en-US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xmlns="" id="{A72FC242-DA41-4C07-B927-5958ECA951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36444473"/>
              </p:ext>
            </p:extLst>
          </p:nvPr>
        </p:nvGraphicFramePr>
        <p:xfrm>
          <a:off x="544529" y="2095928"/>
          <a:ext cx="7849459" cy="20349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3160">
                  <a:extLst>
                    <a:ext uri="{9D8B030D-6E8A-4147-A177-3AD203B41FA5}">
                      <a16:colId xmlns:a16="http://schemas.microsoft.com/office/drawing/2014/main" xmlns="" val="3532954601"/>
                    </a:ext>
                  </a:extLst>
                </a:gridCol>
                <a:gridCol w="2077375">
                  <a:extLst>
                    <a:ext uri="{9D8B030D-6E8A-4147-A177-3AD203B41FA5}">
                      <a16:colId xmlns:a16="http://schemas.microsoft.com/office/drawing/2014/main" xmlns="" val="4129415890"/>
                    </a:ext>
                  </a:extLst>
                </a:gridCol>
                <a:gridCol w="1908699">
                  <a:extLst>
                    <a:ext uri="{9D8B030D-6E8A-4147-A177-3AD203B41FA5}">
                      <a16:colId xmlns:a16="http://schemas.microsoft.com/office/drawing/2014/main" xmlns="" val="587244408"/>
                    </a:ext>
                  </a:extLst>
                </a:gridCol>
                <a:gridCol w="1700225">
                  <a:extLst>
                    <a:ext uri="{9D8B030D-6E8A-4147-A177-3AD203B41FA5}">
                      <a16:colId xmlns:a16="http://schemas.microsoft.com/office/drawing/2014/main" xmlns="" val="719604640"/>
                    </a:ext>
                  </a:extLst>
                </a:gridCol>
              </a:tblGrid>
              <a:tr h="27323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effectLst/>
                        </a:rPr>
                        <a:t>Project Nam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effectLst/>
                        </a:rPr>
                        <a:t>Education District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Municipal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ase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3862087273"/>
                  </a:ext>
                </a:extLst>
              </a:tr>
              <a:tr h="1366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Claremont H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Metro Centra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City of Cape Tow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nder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3895157253"/>
                  </a:ext>
                </a:extLst>
              </a:tr>
              <a:tr h="1366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 err="1">
                          <a:effectLst/>
                        </a:rPr>
                        <a:t>Gansbaai</a:t>
                      </a:r>
                      <a:r>
                        <a:rPr lang="en-US" sz="1400" u="none" strike="noStrike" dirty="0">
                          <a:effectLst/>
                        </a:rPr>
                        <a:t> Academi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Overberg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 err="1">
                          <a:effectLst/>
                        </a:rPr>
                        <a:t>Overstarn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3880107981"/>
                  </a:ext>
                </a:extLst>
              </a:tr>
              <a:tr h="27323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dirty="0">
                          <a:effectLst/>
                        </a:rPr>
                        <a:t>Saldanha L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>
                          <a:effectLst/>
                        </a:rPr>
                        <a:t>West Coast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dirty="0">
                          <a:effectLst/>
                        </a:rPr>
                        <a:t>Saldanha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C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791842809"/>
                  </a:ext>
                </a:extLst>
              </a:tr>
              <a:tr h="3618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Worcester Prep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pe Wineland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eede</a:t>
                      </a:r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alley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4053794586"/>
                  </a:ext>
                </a:extLst>
              </a:tr>
              <a:tr h="1366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Danie Ackerman P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tro Eas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City of Cape Tow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50387020"/>
                  </a:ext>
                </a:extLst>
              </a:tr>
              <a:tr h="136618">
                <a:tc>
                  <a:txBody>
                    <a:bodyPr/>
                    <a:lstStyle/>
                    <a:p>
                      <a:pPr algn="l" fontAlgn="ctr"/>
                      <a:r>
                        <a:rPr lang="nn-NO" sz="1400" u="none" strike="noStrike" dirty="0">
                          <a:effectLst/>
                        </a:rPr>
                        <a:t>RR Franks PS</a:t>
                      </a:r>
                      <a:endParaRPr lang="nn-NO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effectLst/>
                        </a:rPr>
                        <a:t>Metro Eas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City of Cape Tow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179058787"/>
                  </a:ext>
                </a:extLst>
              </a:tr>
              <a:tr h="27323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Lambert’s Bay H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st Coas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derberg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ig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9563951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8462526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in a classroom&#10;&#10;Description automatically generated with medium confidence">
            <a:extLst>
              <a:ext uri="{FF2B5EF4-FFF2-40B4-BE49-F238E27FC236}">
                <a16:creationId xmlns:a16="http://schemas.microsoft.com/office/drawing/2014/main" xmlns="" id="{D135F396-AD74-4BBF-9150-6412BA47266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20292"/>
            <a:ext cx="9434815" cy="628987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DED515D1-4387-45FD-8F5E-AACA48529A05}"/>
              </a:ext>
            </a:extLst>
          </p:cNvPr>
          <p:cNvSpPr/>
          <p:nvPr/>
        </p:nvSpPr>
        <p:spPr>
          <a:xfrm>
            <a:off x="640100" y="3558522"/>
            <a:ext cx="2877186" cy="1929865"/>
          </a:xfrm>
          <a:prstGeom prst="rect">
            <a:avLst/>
          </a:prstGeom>
          <a:solidFill>
            <a:schemeClr val="bg1">
              <a:alpha val="72000"/>
            </a:schemeClr>
          </a:solidFill>
          <a:effectLst/>
        </p:spPr>
        <p:txBody>
          <a:bodyPr lIns="135000" tIns="135000" rIns="0" bIns="135000"/>
          <a:lstStyle/>
          <a:p>
            <a:pPr>
              <a:defRPr/>
            </a:pPr>
            <a:r>
              <a:rPr lang="en-US" sz="2250" b="1" dirty="0">
                <a:solidFill>
                  <a:srgbClr val="003399"/>
                </a:solidFill>
                <a:latin typeface="Century Gothic"/>
                <a:cs typeface="Century Gothic"/>
              </a:rPr>
              <a:t>Quality Education</a:t>
            </a:r>
          </a:p>
          <a:p>
            <a:pPr>
              <a:defRPr/>
            </a:pPr>
            <a:r>
              <a:rPr lang="en-US" sz="2250" dirty="0">
                <a:solidFill>
                  <a:srgbClr val="003399"/>
                </a:solidFill>
                <a:latin typeface="Century Gothic"/>
                <a:cs typeface="Century Gothic"/>
              </a:rPr>
              <a:t>for every child</a:t>
            </a:r>
          </a:p>
          <a:p>
            <a:pPr>
              <a:defRPr/>
            </a:pPr>
            <a:r>
              <a:rPr lang="en-US" sz="2250" dirty="0">
                <a:solidFill>
                  <a:srgbClr val="003399"/>
                </a:solidFill>
                <a:latin typeface="Century Gothic"/>
                <a:cs typeface="Century Gothic"/>
              </a:rPr>
              <a:t>in every classroom</a:t>
            </a:r>
          </a:p>
          <a:p>
            <a:pPr>
              <a:defRPr/>
            </a:pPr>
            <a:r>
              <a:rPr lang="en-US" sz="2250" dirty="0">
                <a:solidFill>
                  <a:srgbClr val="003399"/>
                </a:solidFill>
                <a:latin typeface="Century Gothic"/>
                <a:cs typeface="Century Gothic"/>
              </a:rPr>
              <a:t>in every school </a:t>
            </a:r>
          </a:p>
          <a:p>
            <a:pPr>
              <a:defRPr/>
            </a:pPr>
            <a:r>
              <a:rPr lang="en-US" sz="2250" dirty="0">
                <a:solidFill>
                  <a:srgbClr val="003399"/>
                </a:solidFill>
                <a:latin typeface="Century Gothic"/>
                <a:cs typeface="Century Gothic"/>
              </a:rPr>
              <a:t>in the province.</a:t>
            </a:r>
          </a:p>
        </p:txBody>
      </p:sp>
    </p:spTree>
    <p:extLst>
      <p:ext uri="{BB962C8B-B14F-4D97-AF65-F5344CB8AC3E}">
        <p14:creationId xmlns:p14="http://schemas.microsoft.com/office/powerpoint/2010/main" xmlns="" val="19482121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7673949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201</TotalTime>
  <Words>800</Words>
  <Application>Microsoft Office PowerPoint</Application>
  <PresentationFormat>On-screen Show (4:3)</PresentationFormat>
  <Paragraphs>256</Paragraphs>
  <Slides>9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WCG-PPT Master-121022-amc</vt:lpstr>
      <vt:lpstr>think-cell Slide</vt:lpstr>
      <vt:lpstr>Slide 1</vt:lpstr>
      <vt:lpstr>All schools that are scheduled for replacement for the 2021/22  financial year including Swartland Municipality.</vt:lpstr>
      <vt:lpstr>All schools that are scheduled for replacement for the 2021/22  financial year including Swartland Municipality.</vt:lpstr>
      <vt:lpstr>Budget allocated to the Department of Transport and Public Works for the  replacement and maintenance of schools in the 2021/22 financial year  including Swartland Municipality.</vt:lpstr>
      <vt:lpstr>All schools that have been postponed for maintenance and or  replacement due to COVID-19 epidemic.</vt:lpstr>
      <vt:lpstr>Any additional information pertaining to infrastructure of schools outlined  for the 2020/21 to 2021/22 financial years including Swartland Municipality.  </vt:lpstr>
      <vt:lpstr>Any additional information pertaining to infrastructure of schools outlined  for the 2020/21 to 2021/22 financial years including Swartland Municipality.  </vt:lpstr>
      <vt:lpstr>Slide 8</vt:lpstr>
      <vt:lpstr>Slide 9</vt:lpstr>
    </vt:vector>
  </TitlesOfParts>
  <Company>PGW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USER</cp:lastModifiedBy>
  <cp:revision>1560</cp:revision>
  <cp:lastPrinted>2022-02-21T10:19:48Z</cp:lastPrinted>
  <dcterms:created xsi:type="dcterms:W3CDTF">2017-01-19T08:56:34Z</dcterms:created>
  <dcterms:modified xsi:type="dcterms:W3CDTF">2022-02-24T08:24:18Z</dcterms:modified>
</cp:coreProperties>
</file>